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18" d="100"/>
          <a:sy n="118" d="100"/>
        </p:scale>
        <p:origin x="-1482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9988" y="1243013"/>
            <a:ext cx="4457700" cy="3343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596" y="142852"/>
            <a:ext cx="8572560" cy="935534"/>
          </a:xfrm>
        </p:spPr>
        <p:txBody>
          <a:bodyPr>
            <a:noAutofit/>
          </a:bodyPr>
          <a:lstStyle/>
          <a:p>
            <a:r>
              <a:rPr lang="ru-RU" sz="2400" b="1" dirty="0"/>
              <a:t>РЕЙТИНГ МУНИЦИПАЛЬНЫХ ОБРАЗОВАНИЙ ПО УРОВНЮ ОТКРЫТОСТИ БЮДЖЕТНЫХ ДАННЫХ ЗА 2022 ГОД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xmlns="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539552" y="1340768"/>
            <a:ext cx="2352558" cy="4752528"/>
          </a:xfrm>
          <a:prstGeom prst="round2DiagRect">
            <a:avLst/>
          </a:prstGeom>
          <a:solidFill>
            <a:srgbClr val="006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МО</a:t>
            </a: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ымский район</a:t>
            </a:r>
          </a:p>
          <a:p>
            <a:pPr algn="ctr" defTabSz="273071"/>
            <a:r>
              <a:rPr lang="ru-RU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арский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круг</a:t>
            </a:r>
          </a:p>
          <a:p>
            <a:pPr algn="ctr" defTabSz="273071"/>
            <a:r>
              <a:rPr lang="ru-RU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локский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</a:t>
            </a:r>
          </a:p>
          <a:p>
            <a:pPr algn="ctr" defTabSz="273071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инский район</a:t>
            </a:r>
          </a:p>
          <a:p>
            <a:pPr algn="ctr" defTabSz="273071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Агинское</a:t>
            </a: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с двумя скругленными противолежащими углами 16"/>
          <p:cNvSpPr/>
          <p:nvPr/>
        </p:nvSpPr>
        <p:spPr>
          <a:xfrm>
            <a:off x="3275856" y="5949280"/>
            <a:ext cx="5328592" cy="765868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 МО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3275857" y="1268760"/>
            <a:ext cx="5328592" cy="4541236"/>
          </a:xfrm>
          <a:prstGeom prst="round2DiagRect">
            <a:avLst/>
          </a:prstGeom>
          <a:solidFill>
            <a:srgbClr val="333399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МО</a:t>
            </a:r>
          </a:p>
          <a:p>
            <a:pPr algn="ctr" defTabSz="273071"/>
            <a:endParaRPr lang="ru-RU" sz="10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 район,  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круг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лек-Заводский округ, Балей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Забайкальский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 район, Краснокамен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чикой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ыр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йтуй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ч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 район, Онон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 округ, Ононский район, Оловяннинский район, Приаргунский округ, Петровск-Забайкальский район, Сретенский район, Тунгиро-Олекминский район, Тунгокоченский округ, Чернышев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лопуг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Шилкинский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Петровск-Забайкальский, г.Чита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Горный</a:t>
            </a:r>
            <a:endParaRPr lang="ru-RU" sz="1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8</TotalTime>
  <Words>127</Words>
  <Application>Microsoft Office PowerPoint</Application>
  <PresentationFormat>Экран (4:3)</PresentationFormat>
  <Paragraphs>38</Paragraphs>
  <Slides>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Тема Office</vt:lpstr>
      <vt:lpstr>think-cell Slide</vt:lpstr>
      <vt:lpstr>РЕЙТИНГ МУНИЦИПАЛЬНЫХ ОБРАЗОВАНИЙ ПО УРОВНЮ ОТКРЫТОСТИ БЮДЖЕТНЫХ ДАННЫХ ЗА 2022 ГОД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User</cp:lastModifiedBy>
  <cp:revision>14</cp:revision>
  <cp:lastPrinted>2023-06-08T02:51:56Z</cp:lastPrinted>
  <dcterms:created xsi:type="dcterms:W3CDTF">2022-06-27T05:53:54Z</dcterms:created>
  <dcterms:modified xsi:type="dcterms:W3CDTF">2025-02-27T03:05:48Z</dcterms:modified>
</cp:coreProperties>
</file>